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076137731" r:id="rId2"/>
    <p:sldId id="2076137737" r:id="rId3"/>
    <p:sldId id="2076137738" r:id="rId4"/>
    <p:sldId id="2076137739" r:id="rId5"/>
    <p:sldId id="2076137741" r:id="rId6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microsoft.com/office/2016/11/relationships/changesInfo" Target="changesInfos/changesInfo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tti Maria Rosa (Open Fiber)" userId="d19acd76-476f-421f-abca-aa1742f38ce2" providerId="ADAL" clId="{C5BC7290-338F-431F-A86B-52F606BCB30E}"/>
    <pc:docChg chg="delSld delMainMaster">
      <pc:chgData name="Gatti Maria Rosa (Open Fiber)" userId="d19acd76-476f-421f-abca-aa1742f38ce2" providerId="ADAL" clId="{C5BC7290-338F-431F-A86B-52F606BCB30E}" dt="2024-03-21T14:00:13.906" v="0" actId="2696"/>
      <pc:docMkLst>
        <pc:docMk/>
      </pc:docMkLst>
      <pc:sldChg chg="del">
        <pc:chgData name="Gatti Maria Rosa (Open Fiber)" userId="d19acd76-476f-421f-abca-aa1742f38ce2" providerId="ADAL" clId="{C5BC7290-338F-431F-A86B-52F606BCB30E}" dt="2024-03-21T14:00:13.906" v="0" actId="2696"/>
        <pc:sldMkLst>
          <pc:docMk/>
          <pc:sldMk cId="835779417" sldId="256"/>
        </pc:sldMkLst>
      </pc:sldChg>
      <pc:sldMasterChg chg="del delSldLayout">
        <pc:chgData name="Gatti Maria Rosa (Open Fiber)" userId="d19acd76-476f-421f-abca-aa1742f38ce2" providerId="ADAL" clId="{C5BC7290-338F-431F-A86B-52F606BCB30E}" dt="2024-03-21T14:00:13.906" v="0" actId="2696"/>
        <pc:sldMasterMkLst>
          <pc:docMk/>
          <pc:sldMasterMk cId="437022485" sldId="2147483648"/>
        </pc:sldMasterMkLst>
        <pc:sldLayoutChg chg="del">
          <pc:chgData name="Gatti Maria Rosa (Open Fiber)" userId="d19acd76-476f-421f-abca-aa1742f38ce2" providerId="ADAL" clId="{C5BC7290-338F-431F-A86B-52F606BCB30E}" dt="2024-03-21T14:00:13.906" v="0" actId="2696"/>
          <pc:sldLayoutMkLst>
            <pc:docMk/>
            <pc:sldMasterMk cId="437022485" sldId="2147483648"/>
            <pc:sldLayoutMk cId="2075366613" sldId="2147483649"/>
          </pc:sldLayoutMkLst>
        </pc:sldLayoutChg>
        <pc:sldLayoutChg chg="del">
          <pc:chgData name="Gatti Maria Rosa (Open Fiber)" userId="d19acd76-476f-421f-abca-aa1742f38ce2" providerId="ADAL" clId="{C5BC7290-338F-431F-A86B-52F606BCB30E}" dt="2024-03-21T14:00:13.906" v="0" actId="2696"/>
          <pc:sldLayoutMkLst>
            <pc:docMk/>
            <pc:sldMasterMk cId="437022485" sldId="2147483648"/>
            <pc:sldLayoutMk cId="4067140768" sldId="2147483650"/>
          </pc:sldLayoutMkLst>
        </pc:sldLayoutChg>
        <pc:sldLayoutChg chg="del">
          <pc:chgData name="Gatti Maria Rosa (Open Fiber)" userId="d19acd76-476f-421f-abca-aa1742f38ce2" providerId="ADAL" clId="{C5BC7290-338F-431F-A86B-52F606BCB30E}" dt="2024-03-21T14:00:13.906" v="0" actId="2696"/>
          <pc:sldLayoutMkLst>
            <pc:docMk/>
            <pc:sldMasterMk cId="437022485" sldId="2147483648"/>
            <pc:sldLayoutMk cId="1974493372" sldId="2147483651"/>
          </pc:sldLayoutMkLst>
        </pc:sldLayoutChg>
        <pc:sldLayoutChg chg="del">
          <pc:chgData name="Gatti Maria Rosa (Open Fiber)" userId="d19acd76-476f-421f-abca-aa1742f38ce2" providerId="ADAL" clId="{C5BC7290-338F-431F-A86B-52F606BCB30E}" dt="2024-03-21T14:00:13.906" v="0" actId="2696"/>
          <pc:sldLayoutMkLst>
            <pc:docMk/>
            <pc:sldMasterMk cId="437022485" sldId="2147483648"/>
            <pc:sldLayoutMk cId="1076670660" sldId="2147483652"/>
          </pc:sldLayoutMkLst>
        </pc:sldLayoutChg>
        <pc:sldLayoutChg chg="del">
          <pc:chgData name="Gatti Maria Rosa (Open Fiber)" userId="d19acd76-476f-421f-abca-aa1742f38ce2" providerId="ADAL" clId="{C5BC7290-338F-431F-A86B-52F606BCB30E}" dt="2024-03-21T14:00:13.906" v="0" actId="2696"/>
          <pc:sldLayoutMkLst>
            <pc:docMk/>
            <pc:sldMasterMk cId="437022485" sldId="2147483648"/>
            <pc:sldLayoutMk cId="52350394" sldId="2147483653"/>
          </pc:sldLayoutMkLst>
        </pc:sldLayoutChg>
        <pc:sldLayoutChg chg="del">
          <pc:chgData name="Gatti Maria Rosa (Open Fiber)" userId="d19acd76-476f-421f-abca-aa1742f38ce2" providerId="ADAL" clId="{C5BC7290-338F-431F-A86B-52F606BCB30E}" dt="2024-03-21T14:00:13.906" v="0" actId="2696"/>
          <pc:sldLayoutMkLst>
            <pc:docMk/>
            <pc:sldMasterMk cId="437022485" sldId="2147483648"/>
            <pc:sldLayoutMk cId="2331791637" sldId="2147483654"/>
          </pc:sldLayoutMkLst>
        </pc:sldLayoutChg>
        <pc:sldLayoutChg chg="del">
          <pc:chgData name="Gatti Maria Rosa (Open Fiber)" userId="d19acd76-476f-421f-abca-aa1742f38ce2" providerId="ADAL" clId="{C5BC7290-338F-431F-A86B-52F606BCB30E}" dt="2024-03-21T14:00:13.906" v="0" actId="2696"/>
          <pc:sldLayoutMkLst>
            <pc:docMk/>
            <pc:sldMasterMk cId="437022485" sldId="2147483648"/>
            <pc:sldLayoutMk cId="375746425" sldId="2147483655"/>
          </pc:sldLayoutMkLst>
        </pc:sldLayoutChg>
        <pc:sldLayoutChg chg="del">
          <pc:chgData name="Gatti Maria Rosa (Open Fiber)" userId="d19acd76-476f-421f-abca-aa1742f38ce2" providerId="ADAL" clId="{C5BC7290-338F-431F-A86B-52F606BCB30E}" dt="2024-03-21T14:00:13.906" v="0" actId="2696"/>
          <pc:sldLayoutMkLst>
            <pc:docMk/>
            <pc:sldMasterMk cId="437022485" sldId="2147483648"/>
            <pc:sldLayoutMk cId="723708889" sldId="2147483656"/>
          </pc:sldLayoutMkLst>
        </pc:sldLayoutChg>
        <pc:sldLayoutChg chg="del">
          <pc:chgData name="Gatti Maria Rosa (Open Fiber)" userId="d19acd76-476f-421f-abca-aa1742f38ce2" providerId="ADAL" clId="{C5BC7290-338F-431F-A86B-52F606BCB30E}" dt="2024-03-21T14:00:13.906" v="0" actId="2696"/>
          <pc:sldLayoutMkLst>
            <pc:docMk/>
            <pc:sldMasterMk cId="437022485" sldId="2147483648"/>
            <pc:sldLayoutMk cId="3009369775" sldId="2147483657"/>
          </pc:sldLayoutMkLst>
        </pc:sldLayoutChg>
        <pc:sldLayoutChg chg="del">
          <pc:chgData name="Gatti Maria Rosa (Open Fiber)" userId="d19acd76-476f-421f-abca-aa1742f38ce2" providerId="ADAL" clId="{C5BC7290-338F-431F-A86B-52F606BCB30E}" dt="2024-03-21T14:00:13.906" v="0" actId="2696"/>
          <pc:sldLayoutMkLst>
            <pc:docMk/>
            <pc:sldMasterMk cId="437022485" sldId="2147483648"/>
            <pc:sldLayoutMk cId="2413371989" sldId="2147483658"/>
          </pc:sldLayoutMkLst>
        </pc:sldLayoutChg>
        <pc:sldLayoutChg chg="del">
          <pc:chgData name="Gatti Maria Rosa (Open Fiber)" userId="d19acd76-476f-421f-abca-aa1742f38ce2" providerId="ADAL" clId="{C5BC7290-338F-431F-A86B-52F606BCB30E}" dt="2024-03-21T14:00:13.906" v="0" actId="2696"/>
          <pc:sldLayoutMkLst>
            <pc:docMk/>
            <pc:sldMasterMk cId="437022485" sldId="2147483648"/>
            <pc:sldLayoutMk cId="2037507353" sldId="2147483659"/>
          </pc:sldLayoutMkLst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A0A6E07-0C02-4B2A-963A-E342AE4FC0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1184" y="1695386"/>
            <a:ext cx="4114800" cy="2471109"/>
          </a:xfrm>
        </p:spPr>
        <p:txBody>
          <a:bodyPr anchor="b">
            <a:no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FFA3158D-F731-424A-B2BF-D8E9B41903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91184" y="4175062"/>
            <a:ext cx="4114800" cy="665162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FBC8321-ABB9-4F9E-B41C-DA36EEFBA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0952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FE7F7AA8-DC28-E853-2DE1-A09CA6A3571C}"/>
              </a:ext>
            </a:extLst>
          </p:cNvPr>
          <p:cNvSpPr/>
          <p:nvPr userDrawn="1"/>
        </p:nvSpPr>
        <p:spPr>
          <a:xfrm>
            <a:off x="268343" y="-14843"/>
            <a:ext cx="2974340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1400" b="1" cap="none" spc="50" dirty="0">
                <a:ln w="0"/>
                <a:solidFill>
                  <a:schemeClr val="bg2">
                    <a:lumMod val="25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CONFIDENZIALE - RISERVATO</a:t>
            </a:r>
          </a:p>
        </p:txBody>
      </p:sp>
    </p:spTree>
    <p:extLst>
      <p:ext uri="{BB962C8B-B14F-4D97-AF65-F5344CB8AC3E}">
        <p14:creationId xmlns:p14="http://schemas.microsoft.com/office/powerpoint/2010/main" val="17914154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7F5EC7E-213B-4858-9402-4AA4FBDA5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F444415F-B09F-4018-8359-8276B72DD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DE35A-732E-4D94-B6B1-C87A416326DB}" type="slidenum">
              <a:rPr lang="it-IT" smtClean="0"/>
              <a:t>‹N›</a:t>
            </a:fld>
            <a:endParaRPr lang="it-IT" dirty="0"/>
          </a:p>
        </p:txBody>
      </p:sp>
      <p:sp>
        <p:nvSpPr>
          <p:cNvPr id="9" name="Segnaposto immagine 8">
            <a:extLst>
              <a:ext uri="{FF2B5EF4-FFF2-40B4-BE49-F238E27FC236}">
                <a16:creationId xmlns:a16="http://schemas.microsoft.com/office/drawing/2014/main" id="{97820D5B-7391-45B3-8F08-7F1FB71089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76988" y="1390650"/>
            <a:ext cx="4976812" cy="4741863"/>
          </a:xfrm>
        </p:spPr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64438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0DE8CCA-BDDC-46D2-9FE3-4EFBAA01D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DE35A-732E-4D94-B6B1-C87A416326DB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37886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Master: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1CB1391-7707-4A50-BA0A-0F60690A0E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70" imgH="469" progId="TCLayout.ActiveDocument.1">
                  <p:embed/>
                </p:oleObj>
              </mc:Choice>
              <mc:Fallback>
                <p:oleObj name="Diapositiva think-cell" r:id="rId3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1CB1391-7707-4A50-BA0A-0F60690A0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CB692594-766A-4854-AA33-D60B1F6B07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it-IT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BE25A33-8B7F-49D6-8A08-9BB7C6DCA9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995423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8">
            <a:extLst>
              <a:ext uri="{FF2B5EF4-FFF2-40B4-BE49-F238E27FC236}">
                <a16:creationId xmlns:a16="http://schemas.microsoft.com/office/drawing/2014/main" id="{22E29737-F864-3BCF-4149-9F6D54AC4C48}"/>
              </a:ext>
            </a:extLst>
          </p:cNvPr>
          <p:cNvSpPr/>
          <p:nvPr userDrawn="1"/>
        </p:nvSpPr>
        <p:spPr>
          <a:xfrm>
            <a:off x="0" y="6099362"/>
            <a:ext cx="12192000" cy="758638"/>
          </a:xfrm>
          <a:prstGeom prst="rect">
            <a:avLst/>
          </a:prstGeom>
          <a:solidFill>
            <a:srgbClr val="D8D6D4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393C4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Immagine 24">
            <a:extLst>
              <a:ext uri="{FF2B5EF4-FFF2-40B4-BE49-F238E27FC236}">
                <a16:creationId xmlns:a16="http://schemas.microsoft.com/office/drawing/2014/main" id="{F148C65F-A255-26EB-ED23-DFEAF5D766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3025"/>
            <a:ext cx="4976037" cy="1098550"/>
          </a:xfrm>
          <a:prstGeom prst="rect">
            <a:avLst/>
          </a:prstGeom>
        </p:spPr>
      </p:pic>
      <p:sp>
        <p:nvSpPr>
          <p:cNvPr id="12" name="Segnaposto numero diapositiva 12">
            <a:extLst>
              <a:ext uri="{FF2B5EF4-FFF2-40B4-BE49-F238E27FC236}">
                <a16:creationId xmlns:a16="http://schemas.microsoft.com/office/drawing/2014/main" id="{18B4B455-7FCB-755C-E38E-0BD058EA7B88}"/>
              </a:ext>
            </a:extLst>
          </p:cNvPr>
          <p:cNvSpPr txBox="1">
            <a:spLocks/>
          </p:cNvSpPr>
          <p:nvPr userDrawn="1"/>
        </p:nvSpPr>
        <p:spPr>
          <a:xfrm>
            <a:off x="491512" y="6375049"/>
            <a:ext cx="42333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550" b="0" i="0" kern="1200">
                <a:solidFill>
                  <a:schemeClr val="tx1"/>
                </a:solidFill>
                <a:latin typeface="Microsoft Sans Serif"/>
                <a:ea typeface="+mn-ea"/>
                <a:cs typeface="Microsoft Sans Serif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14"/>
              </a:spcBef>
            </a:pPr>
            <a:fld id="{81D60167-4931-47E6-BA6A-407CBD079E47}" type="slidenum">
              <a:rPr lang="it-IT" sz="1200" b="1" spc="5" smtClean="0">
                <a:solidFill>
                  <a:srgbClr val="BCBBB5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38100" algn="ctr">
                <a:spcBef>
                  <a:spcPts val="114"/>
                </a:spcBef>
              </a:pPr>
              <a:t>‹N›</a:t>
            </a:fld>
            <a:endParaRPr lang="it-IT" sz="1200" b="1" spc="5" dirty="0">
              <a:solidFill>
                <a:srgbClr val="BCBBB5">
                  <a:lumMod val="20000"/>
                  <a:lumOff val="8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egnaposto testo 15">
            <a:extLst>
              <a:ext uri="{FF2B5EF4-FFF2-40B4-BE49-F238E27FC236}">
                <a16:creationId xmlns:a16="http://schemas.microsoft.com/office/drawing/2014/main" id="{CD792377-981B-036D-1184-73E105F7A2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5013" y="374482"/>
            <a:ext cx="7092950" cy="612775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3200" b="1" i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1"/>
                </a:solidFill>
              </a:defRPr>
            </a:lvl2pPr>
            <a:lvl3pPr marL="914400" indent="0">
              <a:buNone/>
              <a:defRPr>
                <a:solidFill>
                  <a:schemeClr val="tx1"/>
                </a:solidFill>
              </a:defRPr>
            </a:lvl3pPr>
            <a:lvl4pPr marL="1371600" indent="0">
              <a:buNone/>
              <a:defRPr>
                <a:solidFill>
                  <a:schemeClr val="tx1"/>
                </a:solidFill>
              </a:defRPr>
            </a:lvl4pPr>
            <a:lvl5pPr marL="18288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 dirty="0"/>
              <a:t>Pagina solo testo</a:t>
            </a:r>
          </a:p>
        </p:txBody>
      </p:sp>
      <p:sp>
        <p:nvSpPr>
          <p:cNvPr id="19" name="Segnaposto testo 18">
            <a:extLst>
              <a:ext uri="{FF2B5EF4-FFF2-40B4-BE49-F238E27FC236}">
                <a16:creationId xmlns:a16="http://schemas.microsoft.com/office/drawing/2014/main" id="{938FD183-6CD9-34BA-D785-39E85F9729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1419" y="1759837"/>
            <a:ext cx="9809162" cy="3751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it-IT" sz="2400" b="0" i="0" u="none" strike="noStrike" kern="0" cap="none" spc="0" normalizeH="0" baseline="0" dirty="0" smtClean="0">
                <a:ln w="6350" cap="flat">
                  <a:noFill/>
                  <a:miter lim="800000"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indent="0">
              <a:buNone/>
              <a:defRPr kumimoji="0" lang="it-IT" sz="2400" b="0" i="0" u="none" strike="noStrike" kern="0" cap="none" spc="0" normalizeH="0" baseline="0" dirty="0" smtClean="0">
                <a:ln w="6350" cap="flat">
                  <a:noFill/>
                  <a:miter lim="800000"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it-IT" sz="2400" b="0" i="0" u="none" strike="noStrike" kern="0" cap="none" spc="0" normalizeH="0" baseline="0" dirty="0" smtClean="0">
                <a:ln w="6350" cap="flat">
                  <a:noFill/>
                  <a:miter lim="800000"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it-IT" sz="2400" b="0" i="0" u="none" strike="noStrike" kern="0" cap="none" spc="0" normalizeH="0" baseline="0" dirty="0" smtClean="0">
                <a:ln w="6350" cap="flat">
                  <a:noFill/>
                  <a:miter lim="800000"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it-IT" sz="2400" b="0" i="0" u="none" strike="noStrike" kern="0" cap="none" spc="0" normalizeH="0" baseline="0" dirty="0">
                <a:ln w="6350" cap="flat">
                  <a:noFill/>
                  <a:miter lim="800000"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it-IT" dirty="0"/>
              <a:t>Inserire qui il testo del paragraf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 w="6350" cap="flat">
                  <a:noFill/>
                  <a:miter lim="800000"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’s a god-awful small affair to the girl with the mousy hai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 w="6350" cap="flat">
                  <a:noFill/>
                  <a:miter lim="800000"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t her mummy is yelling “No”  and her daddy has told her to g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 w="6350" cap="flat">
                  <a:noFill/>
                  <a:miter lim="800000"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t her friend is nowhere to be seen now she walks through her sunken dream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 w="6350" cap="flat">
                <a:noFill/>
                <a:miter lim="800000"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 w="6350" cap="flat">
                  <a:noFill/>
                  <a:miter lim="800000"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the seat with the clearest view and she’s hooked </a:t>
            </a:r>
            <a:r>
              <a:rPr kumimoji="0" lang="en-US" sz="2400" b="0" i="0" u="none" strike="noStrike" kern="0" cap="none" spc="0" normalizeH="0" baseline="0" noProof="0" dirty="0">
                <a:ln w="6350" cap="flat">
                  <a:noFill/>
                  <a:miter lim="800000"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the silver screen but the film is a saddening bore for she’s lived it ten times or more she could spit in the eyes of fools.</a:t>
            </a: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D8D6D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E7EC8655-9E5F-1D66-6FAC-11B5E558A7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691" t="26743" r="15914" b="19645"/>
          <a:stretch/>
        </p:blipFill>
        <p:spPr>
          <a:xfrm>
            <a:off x="10046493" y="6296235"/>
            <a:ext cx="1908175" cy="36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3317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8E65145C-3569-84D5-78E4-D26F15E2BC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6"/>
          <a:stretch/>
        </p:blipFill>
        <p:spPr>
          <a:xfrm>
            <a:off x="-35633" y="0"/>
            <a:ext cx="12227633" cy="6858000"/>
          </a:xfrm>
          <a:prstGeom prst="rect">
            <a:avLst/>
          </a:prstGeom>
        </p:spPr>
      </p:pic>
      <p:pic>
        <p:nvPicPr>
          <p:cNvPr id="6" name="Immagine 24">
            <a:extLst>
              <a:ext uri="{FF2B5EF4-FFF2-40B4-BE49-F238E27FC236}">
                <a16:creationId xmlns:a16="http://schemas.microsoft.com/office/drawing/2014/main" id="{50EF41F9-E9CB-055E-6395-7A5E96AF0E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25825"/>
            <a:ext cx="12227633" cy="1412918"/>
          </a:xfrm>
          <a:prstGeom prst="rect">
            <a:avLst/>
          </a:prstGeom>
        </p:spPr>
      </p:pic>
      <p:sp>
        <p:nvSpPr>
          <p:cNvPr id="20" name="Segnaposto testo 16">
            <a:extLst>
              <a:ext uri="{FF2B5EF4-FFF2-40B4-BE49-F238E27FC236}">
                <a16:creationId xmlns:a16="http://schemas.microsoft.com/office/drawing/2014/main" id="{9D68BFE8-FAE2-7D6A-617B-5C69BB5F13F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41456" y="3134324"/>
            <a:ext cx="5111320" cy="2946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rgbClr val="404040"/>
                </a:solidFill>
              </a:defRPr>
            </a:lvl2pPr>
            <a:lvl3pPr marL="914400" indent="0">
              <a:buNone/>
              <a:defRPr>
                <a:solidFill>
                  <a:srgbClr val="404040"/>
                </a:solidFill>
              </a:defRPr>
            </a:lvl3pPr>
            <a:lvl4pPr marL="1371600" indent="0">
              <a:buNone/>
              <a:defRPr>
                <a:solidFill>
                  <a:srgbClr val="404040"/>
                </a:solidFill>
              </a:defRPr>
            </a:lvl4pPr>
            <a:lvl5pPr marL="1828800" indent="0">
              <a:buNone/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it-IT" dirty="0"/>
              <a:t>Nome Cognome</a:t>
            </a:r>
          </a:p>
        </p:txBody>
      </p:sp>
      <p:sp>
        <p:nvSpPr>
          <p:cNvPr id="21" name="Segnaposto testo 16">
            <a:extLst>
              <a:ext uri="{FF2B5EF4-FFF2-40B4-BE49-F238E27FC236}">
                <a16:creationId xmlns:a16="http://schemas.microsoft.com/office/drawing/2014/main" id="{DF004A46-62A8-442E-8F41-13B4F0B864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141456" y="3947902"/>
            <a:ext cx="5111320" cy="2946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buNone/>
              <a:defRPr sz="2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rgbClr val="404040"/>
                </a:solidFill>
              </a:defRPr>
            </a:lvl2pPr>
            <a:lvl3pPr marL="914400" indent="0">
              <a:buNone/>
              <a:defRPr>
                <a:solidFill>
                  <a:srgbClr val="404040"/>
                </a:solidFill>
              </a:defRPr>
            </a:lvl3pPr>
            <a:lvl4pPr marL="1371600" indent="0">
              <a:buNone/>
              <a:defRPr>
                <a:solidFill>
                  <a:srgbClr val="404040"/>
                </a:solidFill>
              </a:defRPr>
            </a:lvl4pPr>
            <a:lvl5pPr marL="1828800" indent="0">
              <a:buNone/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it-IT" dirty="0"/>
              <a:t>Job </a:t>
            </a:r>
            <a:r>
              <a:rPr lang="it-IT" dirty="0" err="1"/>
              <a:t>title</a:t>
            </a:r>
            <a:endParaRPr lang="it-IT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D3C33B52-E577-1015-C773-322CB62930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4691" t="26743" r="15914" b="19645"/>
          <a:stretch/>
        </p:blipFill>
        <p:spPr>
          <a:xfrm>
            <a:off x="10046493" y="6320893"/>
            <a:ext cx="1908175" cy="36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9590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01E6B6B6-09EB-329C-6E0A-6880C2295FD6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D8D6D4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393C4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Immagine 24">
            <a:extLst>
              <a:ext uri="{FF2B5EF4-FFF2-40B4-BE49-F238E27FC236}">
                <a16:creationId xmlns:a16="http://schemas.microsoft.com/office/drawing/2014/main" id="{05F04F64-97AC-5A5D-CB9E-488E30724D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3025"/>
            <a:ext cx="4976037" cy="1098550"/>
          </a:xfrm>
          <a:prstGeom prst="rect">
            <a:avLst/>
          </a:prstGeom>
        </p:spPr>
      </p:pic>
      <p:sp>
        <p:nvSpPr>
          <p:cNvPr id="3" name="Segnaposto testo 15">
            <a:extLst>
              <a:ext uri="{FF2B5EF4-FFF2-40B4-BE49-F238E27FC236}">
                <a16:creationId xmlns:a16="http://schemas.microsoft.com/office/drawing/2014/main" id="{6F20579B-8795-D4A1-3E4E-5FF2C8DFBD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5013" y="374482"/>
            <a:ext cx="7092950" cy="612775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3200" b="1" i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1"/>
                </a:solidFill>
              </a:defRPr>
            </a:lvl2pPr>
            <a:lvl3pPr marL="914400" indent="0">
              <a:buNone/>
              <a:defRPr>
                <a:solidFill>
                  <a:schemeClr val="tx1"/>
                </a:solidFill>
              </a:defRPr>
            </a:lvl3pPr>
            <a:lvl4pPr marL="1371600" indent="0">
              <a:buNone/>
              <a:defRPr>
                <a:solidFill>
                  <a:schemeClr val="tx1"/>
                </a:solidFill>
              </a:defRPr>
            </a:lvl4pPr>
            <a:lvl5pPr marL="18288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 dirty="0"/>
              <a:t>Pagina testo e grafico</a:t>
            </a:r>
          </a:p>
        </p:txBody>
      </p:sp>
      <p:sp>
        <p:nvSpPr>
          <p:cNvPr id="23" name="Segnaposto testo 22">
            <a:extLst>
              <a:ext uri="{FF2B5EF4-FFF2-40B4-BE49-F238E27FC236}">
                <a16:creationId xmlns:a16="http://schemas.microsoft.com/office/drawing/2014/main" id="{117A51EA-3B3E-1E9B-1C45-AB67AF95AC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675" y="2193925"/>
            <a:ext cx="4530725" cy="3059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>
                <a:solidFill>
                  <a:srgbClr val="404040"/>
                </a:solidFill>
              </a:defRPr>
            </a:lvl1pPr>
            <a:lvl2pPr marL="457200" indent="0">
              <a:buNone/>
              <a:defRPr>
                <a:solidFill>
                  <a:srgbClr val="404040"/>
                </a:solidFill>
              </a:defRPr>
            </a:lvl2pPr>
            <a:lvl3pPr marL="914400" indent="0">
              <a:buNone/>
              <a:defRPr>
                <a:solidFill>
                  <a:srgbClr val="404040"/>
                </a:solidFill>
              </a:defRPr>
            </a:lvl3pPr>
            <a:lvl4pPr marL="1371600" indent="0">
              <a:buNone/>
              <a:defRPr>
                <a:solidFill>
                  <a:srgbClr val="404040"/>
                </a:solidFill>
              </a:defRPr>
            </a:lvl4pPr>
            <a:lvl5pPr marL="1828800" indent="0">
              <a:buNone/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it-IT" dirty="0"/>
              <a:t>Inserire qui il testo del paragrafo</a:t>
            </a:r>
          </a:p>
        </p:txBody>
      </p:sp>
      <p:sp>
        <p:nvSpPr>
          <p:cNvPr id="29" name="Segnaposto numero diapositiva 12">
            <a:extLst>
              <a:ext uri="{FF2B5EF4-FFF2-40B4-BE49-F238E27FC236}">
                <a16:creationId xmlns:a16="http://schemas.microsoft.com/office/drawing/2014/main" id="{654D6E32-CB54-E036-3171-C9C1BE0EB47D}"/>
              </a:ext>
            </a:extLst>
          </p:cNvPr>
          <p:cNvSpPr txBox="1">
            <a:spLocks/>
          </p:cNvSpPr>
          <p:nvPr userDrawn="1"/>
        </p:nvSpPr>
        <p:spPr>
          <a:xfrm>
            <a:off x="491512" y="6375049"/>
            <a:ext cx="42333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550" b="0" i="0" kern="1200">
                <a:solidFill>
                  <a:schemeClr val="tx1"/>
                </a:solidFill>
                <a:latin typeface="Microsoft Sans Serif"/>
                <a:ea typeface="+mn-ea"/>
                <a:cs typeface="Microsoft Sans Serif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14"/>
              </a:spcBef>
            </a:pPr>
            <a:fld id="{81D60167-4931-47E6-BA6A-407CBD079E47}" type="slidenum">
              <a:rPr lang="it-IT" sz="1200" b="1" spc="5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38100" algn="ctr">
                <a:spcBef>
                  <a:spcPts val="114"/>
                </a:spcBef>
              </a:pPr>
              <a:t>‹N›</a:t>
            </a:fld>
            <a:endParaRPr lang="it-IT" sz="1200" b="1" spc="5" dirty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33F226FB-D480-4A1B-DC67-795FE8A41A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691" t="26743" r="15914" b="19645"/>
          <a:stretch/>
        </p:blipFill>
        <p:spPr>
          <a:xfrm>
            <a:off x="10046493" y="6206781"/>
            <a:ext cx="1908175" cy="36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3626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85725E4F-53CD-C8F0-3AEF-FD918E1915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444E8BB7-09D5-5115-4191-983AC860BCB9}"/>
              </a:ext>
            </a:extLst>
          </p:cNvPr>
          <p:cNvSpPr/>
          <p:nvPr userDrawn="1"/>
        </p:nvSpPr>
        <p:spPr>
          <a:xfrm>
            <a:off x="-2381" y="0"/>
            <a:ext cx="12192000" cy="6858000"/>
          </a:xfrm>
          <a:prstGeom prst="rect">
            <a:avLst/>
          </a:prstGeom>
          <a:solidFill>
            <a:srgbClr val="D8D6D4">
              <a:lumMod val="25000"/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393C4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Line 5">
            <a:extLst>
              <a:ext uri="{FF2B5EF4-FFF2-40B4-BE49-F238E27FC236}">
                <a16:creationId xmlns:a16="http://schemas.microsoft.com/office/drawing/2014/main" id="{B78E0A26-C38D-D18E-AED6-BDC6447A3B5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986213" y="3366492"/>
            <a:ext cx="4214812" cy="1"/>
          </a:xfrm>
          <a:prstGeom prst="line">
            <a:avLst/>
          </a:prstGeom>
          <a:noFill/>
          <a:ln w="12700" cap="flat">
            <a:solidFill>
              <a:srgbClr val="D8D6D4">
                <a:lumMod val="9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D8D6D4"/>
              </a:solidFill>
              <a:effectLst/>
              <a:uLnTx/>
              <a:uFillTx/>
            </a:endParaRP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796FCC0A-045C-C3F8-F3AD-3C774BCB0F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2694" y="2835399"/>
            <a:ext cx="7181850" cy="5953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lang="it-IT" sz="3200" b="1" kern="1200" spc="3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>
              <a:buNone/>
              <a:defRPr lang="it-IT" sz="3200" b="1" kern="1200" spc="3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>
              <a:buNone/>
              <a:defRPr lang="it-IT" sz="3200" b="1" kern="1200" spc="3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>
              <a:buNone/>
              <a:defRPr lang="it-IT" sz="3200" b="1" kern="1200" spc="3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>
              <a:buNone/>
              <a:defRPr lang="it-IT" sz="3200" b="1" kern="1200" spc="3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algn="ctr"/>
            <a:r>
              <a:rPr lang="it-IT" sz="3200" b="1" spc="3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OLO DIVISORIO</a:t>
            </a:r>
          </a:p>
        </p:txBody>
      </p:sp>
      <p:sp>
        <p:nvSpPr>
          <p:cNvPr id="19" name="Segnaposto testo 18">
            <a:extLst>
              <a:ext uri="{FF2B5EF4-FFF2-40B4-BE49-F238E27FC236}">
                <a16:creationId xmlns:a16="http://schemas.microsoft.com/office/drawing/2014/main" id="{8551980C-2215-4149-5A1B-76FD5B320A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9056" y="5782827"/>
            <a:ext cx="6973888" cy="7381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it-IT" dirty="0"/>
              <a:t>Luogo e data</a:t>
            </a:r>
          </a:p>
        </p:txBody>
      </p:sp>
      <p:pic>
        <p:nvPicPr>
          <p:cNvPr id="4" name="Immagine 3" descr="Immagine che contiene testo, Carattere, Elementi grafici, logo">
            <a:extLst>
              <a:ext uri="{FF2B5EF4-FFF2-40B4-BE49-F238E27FC236}">
                <a16:creationId xmlns:a16="http://schemas.microsoft.com/office/drawing/2014/main" id="{827B0CCE-6192-CB83-7D5A-24B2D2D511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2868" y="761998"/>
            <a:ext cx="5873229" cy="1467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999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8FD0A60-5A4D-4DA7-8771-B7B8752A1D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44347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BDBF930-2B8B-4FCF-AD67-A82223ADD9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AE1842F-E418-44F9-A27B-783BBC60AE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7D3DB16-E56E-4C00-AD52-49849D7DF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DE35A-732E-4D94-B6B1-C87A416326DB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552453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E8F9B92-D55A-484C-B6BB-EDE97619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225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BE40058D-AB47-45F6-93E5-7D7AB0F991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8B82959-F6E1-4AF9-BAFB-B68D13B276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EDE35A-732E-4D94-B6B1-C87A416326DB}" type="slidenum">
              <a:rPr lang="it-IT" smtClean="0"/>
              <a:t>‹N›</a:t>
            </a:fld>
            <a:endParaRPr lang="it-IT" dirty="0"/>
          </a:p>
        </p:txBody>
      </p:sp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20EE5969-A393-43C5-91F3-41EBC1E396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414463"/>
            <a:ext cx="4806950" cy="4632325"/>
          </a:xfrm>
        </p:spPr>
        <p:txBody>
          <a:bodyPr/>
          <a:lstStyle/>
          <a:p>
            <a:endParaRPr lang="it-IT" dirty="0"/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5A162003-89A9-4295-875A-B9BBBF53A1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1414463"/>
            <a:ext cx="5413375" cy="46323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1881450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E407AE72-7928-446E-AEBE-DE24376032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C1E6CC2-5694-46EC-9718-7AA7C2AA0D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EDE35A-732E-4D94-B6B1-C87A416326DB}" type="slidenum">
              <a:rPr lang="it-IT" smtClean="0"/>
              <a:t>‹N›</a:t>
            </a:fld>
            <a:endParaRPr lang="it-IT" dirty="0"/>
          </a:p>
        </p:txBody>
      </p:sp>
      <p:sp>
        <p:nvSpPr>
          <p:cNvPr id="8" name="Titolo 7">
            <a:extLst>
              <a:ext uri="{FF2B5EF4-FFF2-40B4-BE49-F238E27FC236}">
                <a16:creationId xmlns:a16="http://schemas.microsoft.com/office/drawing/2014/main" id="{FF67AB33-AAF6-422A-B61F-41D5517E7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365126"/>
            <a:ext cx="4925568" cy="773412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B6CDB567-83C1-4B54-BF6E-A23C928054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74" y="1401763"/>
            <a:ext cx="4888865" cy="4729162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972740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0346D3B-7BF3-4805-8078-808616003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3478A1ED-FB85-4DE1-8BA9-707B350F7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E8510F70-9BF6-4EA7-B595-38AC86FED1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EDE35A-732E-4D94-B6B1-C87A416326DB}" type="slidenum">
              <a:rPr lang="it-IT" smtClean="0"/>
              <a:t>‹N›</a:t>
            </a:fld>
            <a:endParaRPr lang="it-IT" dirty="0"/>
          </a:p>
        </p:txBody>
      </p:sp>
      <p:sp>
        <p:nvSpPr>
          <p:cNvPr id="6" name="Segnaposto grafico 5">
            <a:extLst>
              <a:ext uri="{FF2B5EF4-FFF2-40B4-BE49-F238E27FC236}">
                <a16:creationId xmlns:a16="http://schemas.microsoft.com/office/drawing/2014/main" id="{A2091100-A050-4446-9DBC-D0DB97B8B209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8200" y="1401763"/>
            <a:ext cx="10683875" cy="4657725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80953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0346D3B-7BF3-4805-8078-808616003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3478A1ED-FB85-4DE1-8BA9-707B350F7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E8510F70-9BF6-4EA7-B595-38AC86FED1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EDE35A-732E-4D94-B6B1-C87A416326DB}" type="slidenum">
              <a:rPr lang="it-IT" smtClean="0"/>
              <a:t>‹N›</a:t>
            </a:fld>
            <a:endParaRPr lang="it-IT" dirty="0"/>
          </a:p>
        </p:txBody>
      </p:sp>
      <p:sp>
        <p:nvSpPr>
          <p:cNvPr id="7" name="Segnaposto SmartArt 6">
            <a:extLst>
              <a:ext uri="{FF2B5EF4-FFF2-40B4-BE49-F238E27FC236}">
                <a16:creationId xmlns:a16="http://schemas.microsoft.com/office/drawing/2014/main" id="{D69F98DA-BBFD-443B-809E-7A493988C277}"/>
              </a:ext>
            </a:extLst>
          </p:cNvPr>
          <p:cNvSpPr>
            <a:spLocks noGrp="1"/>
          </p:cNvSpPr>
          <p:nvPr>
            <p:ph type="dgm" sz="quarter" idx="12"/>
          </p:nvPr>
        </p:nvSpPr>
        <p:spPr>
          <a:xfrm>
            <a:off x="838200" y="1427163"/>
            <a:ext cx="10634663" cy="4400550"/>
          </a:xfrm>
        </p:spPr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464186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405DA86-ECE2-4AC1-ABC3-03F8AEA88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DE35A-732E-4D94-B6B1-C87A416326DB}" type="slidenum">
              <a:rPr lang="it-IT" smtClean="0"/>
              <a:t>‹N›</a:t>
            </a:fld>
            <a:endParaRPr lang="it-IT" dirty="0"/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FBA0F3C2-83BB-45F0-87F5-0027782539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1" y="1450848"/>
            <a:ext cx="10807700" cy="4473703"/>
          </a:xfrm>
        </p:spPr>
        <p:txBody>
          <a:bodyPr numCol="2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Testo a due colonne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4"/>
            <a:endParaRPr lang="it-IT"/>
          </a:p>
          <a:p>
            <a:pPr lvl="4"/>
            <a:endParaRPr lang="it-IT"/>
          </a:p>
          <a:p>
            <a:pPr lvl="4"/>
            <a:endParaRPr lang="it-IT"/>
          </a:p>
          <a:p>
            <a:pPr lvl="0"/>
            <a:endParaRPr lang="it-IT"/>
          </a:p>
          <a:p>
            <a:pPr lvl="0"/>
            <a:endParaRPr lang="it-IT"/>
          </a:p>
          <a:p>
            <a:pPr lvl="0"/>
            <a:endParaRPr lang="it-IT"/>
          </a:p>
          <a:p>
            <a:pPr lvl="0"/>
            <a:endParaRPr lang="it-IT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Testo a due colonne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4"/>
            <a:endParaRPr lang="it-IT"/>
          </a:p>
        </p:txBody>
      </p:sp>
      <p:sp>
        <p:nvSpPr>
          <p:cNvPr id="12" name="Titolo 11">
            <a:extLst>
              <a:ext uri="{FF2B5EF4-FFF2-40B4-BE49-F238E27FC236}">
                <a16:creationId xmlns:a16="http://schemas.microsoft.com/office/drawing/2014/main" id="{B2733990-9874-40EA-9630-CB5433C52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110410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9E00F-D83B-40CA-905E-3B267A66F3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5473312-9926-48EF-AF6E-C3FF494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0848"/>
            <a:ext cx="5181600" cy="472611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1BB07197-7D5B-48D0-A65B-9D9C338AAF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450848"/>
            <a:ext cx="5181600" cy="472611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ECF799D-8B86-4ACA-B11F-0352046F1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DE35A-732E-4D94-B6B1-C87A416326DB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36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7D3BF0E-6A9F-4A55-A7B1-E5818DD44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707771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0BFD80D-DE1C-413D-AE2F-5EF16FDB71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4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22FCE5BD-215C-4A52-B5C8-DDD34C4F1A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478CC150-7342-433D-B76C-8A2E9B51BF2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D9774FE4-02DF-434D-9337-8E59F1DBB2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0146E65F-E533-4B8F-8DE3-20E18CE02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DE35A-732E-4D94-B6B1-C87A416326DB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56438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1802632-D6DC-4542-A759-4716BFAF3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91825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0" imgW="498" imgH="499" progId="TCLayout.ActiveDocument.1">
                  <p:embed/>
                </p:oleObj>
              </mc:Choice>
              <mc:Fallback>
                <p:oleObj name="Diapositiva think-cell" r:id="rId20" imgW="498" imgH="4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1802632-D6DC-4542-A759-4716BFAF3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569DE3-931E-40DA-9E9C-237AF468BA46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9227957F-3188-41AD-B84A-22F0E09C4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734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57E92AE-FF28-48E0-BE29-FB34277DC7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08149"/>
            <a:ext cx="10515600" cy="47688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CCA4467-72CB-4A41-95D2-63F983D96A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23816" y="631190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DC56867-6286-4B54-BAB1-2EF7DDF87D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1568" y="6233241"/>
            <a:ext cx="624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EDE35A-732E-4D94-B6B1-C87A416326DB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91112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openfiber.it/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403797EC-A0BD-B1A5-4150-DC1D6D1AD2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81364" y="2517302"/>
            <a:ext cx="9286032" cy="595312"/>
          </a:xfrm>
        </p:spPr>
        <p:txBody>
          <a:bodyPr/>
          <a:lstStyle/>
          <a:p>
            <a:r>
              <a:rPr lang="it-IT" i="1" dirty="0"/>
              <a:t>Attivazione del servizio </a:t>
            </a:r>
          </a:p>
          <a:p>
            <a:r>
              <a:rPr lang="it-IT" i="1" dirty="0"/>
              <a:t>(delivery)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60621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368440C1-B6CD-5490-82D7-ECBD604899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/>
              <a:t>Visita il sito Open Fiber</a:t>
            </a:r>
          </a:p>
        </p:txBody>
      </p:sp>
      <p:sp>
        <p:nvSpPr>
          <p:cNvPr id="4" name="Google Shape;67;g24850a9717a_0_226">
            <a:extLst>
              <a:ext uri="{FF2B5EF4-FFF2-40B4-BE49-F238E27FC236}">
                <a16:creationId xmlns:a16="http://schemas.microsoft.com/office/drawing/2014/main" id="{BFD68A2A-4A54-5D30-0C32-11ED5C7A383A}"/>
              </a:ext>
            </a:extLst>
          </p:cNvPr>
          <p:cNvSpPr txBox="1"/>
          <p:nvPr/>
        </p:nvSpPr>
        <p:spPr>
          <a:xfrm>
            <a:off x="280047" y="2065548"/>
            <a:ext cx="5254129" cy="2202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88000" tIns="144000" rIns="864000" bIns="1440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100"/>
              <a:buFontTx/>
              <a:buNone/>
              <a:tabLst/>
              <a:defRPr/>
            </a:pPr>
            <a:r>
              <a:rPr kumimoji="0" lang="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Visita il nostro sito </a:t>
            </a:r>
            <a:r>
              <a:rPr kumimoji="0" lang="it" sz="1800" b="1" i="0" u="none" strike="noStrike" kern="1200" cap="none" spc="0" normalizeH="0" baseline="0" noProof="0" dirty="0">
                <a:ln>
                  <a:noFill/>
                </a:ln>
                <a:solidFill>
                  <a:srgbClr val="EC69C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fiber.it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EC69C5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100"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100"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100"/>
              <a:buFontTx/>
              <a:buNone/>
              <a:tabLst/>
              <a:defRPr/>
            </a:pPr>
            <a:r>
              <a:rPr kumimoji="0" lang="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Accedi alla sezione </a:t>
            </a:r>
            <a:r>
              <a:rPr kumimoji="0" lang="it" sz="1800" b="1" i="0" u="none" strike="noStrike" kern="1200" cap="none" spc="0" normalizeH="0" baseline="0" noProof="0" dirty="0">
                <a:ln>
                  <a:noFill/>
                </a:ln>
                <a:solidFill>
                  <a:srgbClr val="EC69C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Verifica Copertura </a:t>
            </a:r>
            <a:r>
              <a:rPr kumimoji="0" lang="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per scoprire se la rete FTTH è disponibile presso il tuo civico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Nunito"/>
            </a:endParaRPr>
          </a:p>
        </p:txBody>
      </p:sp>
      <p:pic>
        <p:nvPicPr>
          <p:cNvPr id="3" name="Google Shape;69;g24850a9717a_0_226">
            <a:extLst>
              <a:ext uri="{FF2B5EF4-FFF2-40B4-BE49-F238E27FC236}">
                <a16:creationId xmlns:a16="http://schemas.microsoft.com/office/drawing/2014/main" id="{3A52BC5F-C3AF-F5A7-4282-D961307C5A15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89572" y="2261687"/>
            <a:ext cx="223832" cy="22383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70;g24850a9717a_0_226">
            <a:extLst>
              <a:ext uri="{FF2B5EF4-FFF2-40B4-BE49-F238E27FC236}">
                <a16:creationId xmlns:a16="http://schemas.microsoft.com/office/drawing/2014/main" id="{7F55E95F-732A-4E40-2B46-E9B116A4BD38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89572" y="3228426"/>
            <a:ext cx="223832" cy="223832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35F8116C-88F4-083B-0B37-BBC35EFDFFC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73"/>
          <a:stretch/>
        </p:blipFill>
        <p:spPr>
          <a:xfrm>
            <a:off x="4702770" y="987258"/>
            <a:ext cx="7489230" cy="5137318"/>
          </a:xfrm>
          <a:prstGeom prst="rect">
            <a:avLst/>
          </a:prstGeom>
        </p:spPr>
      </p:pic>
      <p:sp>
        <p:nvSpPr>
          <p:cNvPr id="6" name="Google Shape;75;g24850a9717a_0_226">
            <a:extLst>
              <a:ext uri="{FF2B5EF4-FFF2-40B4-BE49-F238E27FC236}">
                <a16:creationId xmlns:a16="http://schemas.microsoft.com/office/drawing/2014/main" id="{50082B2B-0461-C19F-8824-6ACFA76D75C2}"/>
              </a:ext>
            </a:extLst>
          </p:cNvPr>
          <p:cNvSpPr/>
          <p:nvPr/>
        </p:nvSpPr>
        <p:spPr>
          <a:xfrm>
            <a:off x="9451921" y="934701"/>
            <a:ext cx="829994" cy="419600"/>
          </a:xfrm>
          <a:prstGeom prst="rect">
            <a:avLst/>
          </a:prstGeom>
          <a:noFill/>
          <a:ln w="28575" cap="flat" cmpd="sng">
            <a:solidFill>
              <a:srgbClr val="FE207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5172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5C94141C-8BC2-45F1-9D67-399D801E45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/>
              <a:t>Verifica la copertura</a:t>
            </a:r>
          </a:p>
        </p:txBody>
      </p:sp>
      <p:sp>
        <p:nvSpPr>
          <p:cNvPr id="4" name="Google Shape;80;g25073b4c49a_0_2">
            <a:extLst>
              <a:ext uri="{FF2B5EF4-FFF2-40B4-BE49-F238E27FC236}">
                <a16:creationId xmlns:a16="http://schemas.microsoft.com/office/drawing/2014/main" id="{BAB3C8EA-38BC-613D-1A8D-770F5695049D}"/>
              </a:ext>
            </a:extLst>
          </p:cNvPr>
          <p:cNvSpPr txBox="1"/>
          <p:nvPr/>
        </p:nvSpPr>
        <p:spPr>
          <a:xfrm>
            <a:off x="251905" y="2548771"/>
            <a:ext cx="5085319" cy="1848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88000" tIns="144000" rIns="864000" bIns="1440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100"/>
              <a:buFontTx/>
              <a:buNone/>
              <a:tabLst/>
              <a:defRPr/>
            </a:pPr>
            <a:r>
              <a:rPr kumimoji="0" lang="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Inserisci i dati richiesti nel form e verifica che il tuo civico sia coperto dalla </a:t>
            </a:r>
            <a:r>
              <a:rPr kumimoji="0" lang="it" sz="1800" b="1" i="0" u="none" strike="noStrike" kern="1200" cap="none" spc="0" normalizeH="0" baseline="0" noProof="0" dirty="0">
                <a:ln>
                  <a:noFill/>
                </a:ln>
                <a:solidFill>
                  <a:srgbClr val="EC69C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rete a banda ultralarga </a:t>
            </a:r>
            <a:r>
              <a:rPr kumimoji="0" lang="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di </a:t>
            </a:r>
            <a:br>
              <a:rPr kumimoji="0" lang="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</a:br>
            <a:r>
              <a:rPr kumimoji="0" lang="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Open Fiber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100"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Nunito"/>
              <a:ea typeface="Nunito"/>
              <a:cs typeface="Nunito"/>
              <a:sym typeface="Nunito"/>
            </a:endParaRPr>
          </a:p>
        </p:txBody>
      </p:sp>
      <p:pic>
        <p:nvPicPr>
          <p:cNvPr id="6" name="Google Shape;87;g25073b4c49a_0_2">
            <a:extLst>
              <a:ext uri="{FF2B5EF4-FFF2-40B4-BE49-F238E27FC236}">
                <a16:creationId xmlns:a16="http://schemas.microsoft.com/office/drawing/2014/main" id="{F48A67B1-889E-E1D1-5C2A-FC0D04ECC1C0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8465" y="2739989"/>
            <a:ext cx="223832" cy="22383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954C415A-518C-5C79-EEFF-4C385492D4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6272" y="1094147"/>
            <a:ext cx="7479053" cy="499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361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759FD24A-D04D-25C4-4D2E-70F1AD3955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75013" y="346346"/>
            <a:ext cx="7092950" cy="612775"/>
          </a:xfrm>
        </p:spPr>
        <p:txBody>
          <a:bodyPr/>
          <a:lstStyle/>
          <a:p>
            <a:r>
              <a:rPr lang="it-IT" dirty="0"/>
              <a:t>Sei connesso!</a:t>
            </a:r>
          </a:p>
        </p:txBody>
      </p:sp>
      <p:sp>
        <p:nvSpPr>
          <p:cNvPr id="4" name="Google Shape;100;g25073b4c49a_0_10">
            <a:extLst>
              <a:ext uri="{FF2B5EF4-FFF2-40B4-BE49-F238E27FC236}">
                <a16:creationId xmlns:a16="http://schemas.microsoft.com/office/drawing/2014/main" id="{C3A80B5B-7862-EAB8-606F-74444E78A029}"/>
              </a:ext>
            </a:extLst>
          </p:cNvPr>
          <p:cNvSpPr txBox="1"/>
          <p:nvPr/>
        </p:nvSpPr>
        <p:spPr>
          <a:xfrm>
            <a:off x="499560" y="1080816"/>
            <a:ext cx="4519207" cy="1246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88000" tIns="144000" rIns="864000" bIns="1440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100"/>
              <a:buFontTx/>
              <a:buNone/>
              <a:tabLst/>
              <a:defRPr/>
            </a:pPr>
            <a:r>
              <a:rPr kumimoji="0" lang="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Consulta le </a:t>
            </a:r>
            <a:r>
              <a:rPr kumimoji="0" lang="it" sz="1800" b="1" i="0" u="none" strike="noStrike" kern="1200" cap="none" spc="0" normalizeH="0" baseline="0" noProof="0" dirty="0">
                <a:ln>
                  <a:noFill/>
                </a:ln>
                <a:solidFill>
                  <a:srgbClr val="EC69C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offerte degli Operatori Partner</a:t>
            </a:r>
            <a:r>
              <a:rPr kumimoji="0" lang="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 con cui è possibile attivare il servizio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Nunito"/>
            </a:endParaRPr>
          </a:p>
        </p:txBody>
      </p:sp>
      <p:sp>
        <p:nvSpPr>
          <p:cNvPr id="6" name="Google Shape;104;g25073b4c49a_0_10">
            <a:extLst>
              <a:ext uri="{FF2B5EF4-FFF2-40B4-BE49-F238E27FC236}">
                <a16:creationId xmlns:a16="http://schemas.microsoft.com/office/drawing/2014/main" id="{673B6380-D04B-CF37-E847-0294BB40FA33}"/>
              </a:ext>
            </a:extLst>
          </p:cNvPr>
          <p:cNvSpPr txBox="1"/>
          <p:nvPr/>
        </p:nvSpPr>
        <p:spPr>
          <a:xfrm>
            <a:off x="499561" y="2773649"/>
            <a:ext cx="4255319" cy="1274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8800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100"/>
              <a:buFontTx/>
              <a:buNone/>
              <a:tabLst/>
              <a:defRPr/>
            </a:pPr>
            <a:r>
              <a:rPr kumimoji="0" lang="it" sz="1800" b="1" i="0" u="none" strike="noStrike" kern="1200" cap="none" spc="0" normalizeH="0" baseline="0" noProof="0" dirty="0">
                <a:ln>
                  <a:noFill/>
                </a:ln>
                <a:solidFill>
                  <a:srgbClr val="EC69C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Attiva l’abbonamento.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EC69C5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100"/>
              <a:buFontTx/>
              <a:buNone/>
              <a:tabLst/>
              <a:defRPr/>
            </a:pPr>
            <a:r>
              <a:rPr kumimoji="0" lang="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Scegli l’offerta più adatta a te, contatta l’Operatore Partner e richiedi l’attivazione del tuo abbonamento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Nunito"/>
            </a:endParaRPr>
          </a:p>
        </p:txBody>
      </p:sp>
      <p:sp>
        <p:nvSpPr>
          <p:cNvPr id="7" name="Google Shape;105;g25073b4c49a_0_10">
            <a:extLst>
              <a:ext uri="{FF2B5EF4-FFF2-40B4-BE49-F238E27FC236}">
                <a16:creationId xmlns:a16="http://schemas.microsoft.com/office/drawing/2014/main" id="{AE9870AF-AB02-FF4D-C2F5-C3EDCC5BB712}"/>
              </a:ext>
            </a:extLst>
          </p:cNvPr>
          <p:cNvSpPr txBox="1"/>
          <p:nvPr/>
        </p:nvSpPr>
        <p:spPr>
          <a:xfrm>
            <a:off x="499560" y="4551664"/>
            <a:ext cx="4255319" cy="9556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8800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100"/>
              <a:buFontTx/>
              <a:buNone/>
              <a:tabLst/>
              <a:defRPr/>
            </a:pPr>
            <a:r>
              <a:rPr kumimoji="0" lang="it" sz="1800" b="1" i="0" u="none" strike="noStrike" kern="1200" cap="none" spc="0" normalizeH="0" baseline="0" noProof="0" dirty="0">
                <a:ln>
                  <a:noFill/>
                </a:ln>
                <a:solidFill>
                  <a:srgbClr val="EC69C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Completa l’installazione.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EC69C5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100"/>
              <a:buFontTx/>
              <a:buNone/>
              <a:tabLst/>
              <a:defRPr/>
            </a:pPr>
            <a:r>
              <a:rPr kumimoji="0" lang="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Nunito"/>
              </a:rPr>
              <a:t>L’Operatore Partner scelto ti contatterà per programmare l’attivazione del servizio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Nunito"/>
            </a:endParaRPr>
          </a:p>
        </p:txBody>
      </p:sp>
      <p:pic>
        <p:nvPicPr>
          <p:cNvPr id="9" name="Google Shape;102;g25073b4c49a_0_10">
            <a:extLst>
              <a:ext uri="{FF2B5EF4-FFF2-40B4-BE49-F238E27FC236}">
                <a16:creationId xmlns:a16="http://schemas.microsoft.com/office/drawing/2014/main" id="{5F244418-E71E-5479-1AC4-ABB42260AF44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9561" y="1276952"/>
            <a:ext cx="223832" cy="2238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106;g25073b4c49a_0_10">
            <a:extLst>
              <a:ext uri="{FF2B5EF4-FFF2-40B4-BE49-F238E27FC236}">
                <a16:creationId xmlns:a16="http://schemas.microsoft.com/office/drawing/2014/main" id="{C55DA5F9-94E8-7EF0-95A1-7E609148194B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9561" y="2806161"/>
            <a:ext cx="223832" cy="2238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07;g25073b4c49a_0_10">
            <a:extLst>
              <a:ext uri="{FF2B5EF4-FFF2-40B4-BE49-F238E27FC236}">
                <a16:creationId xmlns:a16="http://schemas.microsoft.com/office/drawing/2014/main" id="{FE76E006-8E43-0F0B-97CB-81891D18E83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99561" y="4599580"/>
            <a:ext cx="223832" cy="223832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D1BA639F-68D0-81DF-C942-8691295D24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54879" y="794638"/>
            <a:ext cx="7437121" cy="5268723"/>
          </a:xfrm>
          <a:prstGeom prst="rect">
            <a:avLst/>
          </a:prstGeom>
        </p:spPr>
      </p:pic>
      <p:sp>
        <p:nvSpPr>
          <p:cNvPr id="12" name="Google Shape;111;g25073b4c49a_0_10">
            <a:extLst>
              <a:ext uri="{FF2B5EF4-FFF2-40B4-BE49-F238E27FC236}">
                <a16:creationId xmlns:a16="http://schemas.microsoft.com/office/drawing/2014/main" id="{40A1E443-9F84-AF1C-79BE-62C61D55665B}"/>
              </a:ext>
            </a:extLst>
          </p:cNvPr>
          <p:cNvSpPr/>
          <p:nvPr/>
        </p:nvSpPr>
        <p:spPr>
          <a:xfrm>
            <a:off x="6277060" y="1276952"/>
            <a:ext cx="1629200" cy="775600"/>
          </a:xfrm>
          <a:prstGeom prst="rect">
            <a:avLst/>
          </a:prstGeom>
          <a:noFill/>
          <a:ln w="28575" cap="flat" cmpd="sng">
            <a:solidFill>
              <a:srgbClr val="FE207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10077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835493CF-67C5-5864-956B-F91DECD13B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75013" y="374482"/>
            <a:ext cx="10355916" cy="612775"/>
          </a:xfrm>
        </p:spPr>
        <p:txBody>
          <a:bodyPr/>
          <a:lstStyle/>
          <a:p>
            <a:r>
              <a:rPr lang="it-IT" dirty="0"/>
              <a:t>Attivazione del servizio: i lavori dei nostri tecnici 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99B5502-F4FC-41D9-892B-3014DEEC64D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8103" y="2944547"/>
            <a:ext cx="2422649" cy="225495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object 3">
            <a:extLst>
              <a:ext uri="{FF2B5EF4-FFF2-40B4-BE49-F238E27FC236}">
                <a16:creationId xmlns:a16="http://schemas.microsoft.com/office/drawing/2014/main" id="{EEDC2C1B-1FE9-C01F-53FD-3000C27F56F4}"/>
              </a:ext>
            </a:extLst>
          </p:cNvPr>
          <p:cNvSpPr txBox="1"/>
          <p:nvPr/>
        </p:nvSpPr>
        <p:spPr>
          <a:xfrm>
            <a:off x="3484036" y="5223862"/>
            <a:ext cx="2483096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it-IT"/>
            </a:defPPr>
            <a:lvl1pPr marL="12700" algn="ctr">
              <a:lnSpc>
                <a:spcPct val="100000"/>
              </a:lnSpc>
              <a:spcBef>
                <a:spcPts val="100"/>
              </a:spcBef>
              <a:defRPr sz="1400" i="1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sempio di nuovo scavo in tecnica di </a:t>
            </a:r>
            <a:r>
              <a:rPr kumimoji="0" lang="it-IT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EC69C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microtrincea</a:t>
            </a:r>
            <a:endParaRPr kumimoji="0" sz="1400" b="0" i="1" u="none" strike="noStrike" kern="1200" cap="none" spc="0" normalizeH="0" baseline="0" noProof="0" dirty="0">
              <a:ln>
                <a:noFill/>
              </a:ln>
              <a:solidFill>
                <a:srgbClr val="EC69C5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35A6139F-4581-EB69-80F3-83DAD8C9AB4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7432" y="2944547"/>
            <a:ext cx="2397938" cy="2237213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8" name="object 3">
            <a:extLst>
              <a:ext uri="{FF2B5EF4-FFF2-40B4-BE49-F238E27FC236}">
                <a16:creationId xmlns:a16="http://schemas.microsoft.com/office/drawing/2014/main" id="{EBE6E018-34A6-B4A6-6087-3DB009459B41}"/>
              </a:ext>
            </a:extLst>
          </p:cNvPr>
          <p:cNvSpPr txBox="1"/>
          <p:nvPr/>
        </p:nvSpPr>
        <p:spPr>
          <a:xfrm>
            <a:off x="6220770" y="5199498"/>
            <a:ext cx="2631262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it-IT"/>
            </a:defPPr>
            <a:lvl1pPr marL="12700" algn="ctr">
              <a:lnSpc>
                <a:spcPct val="100000"/>
              </a:lnSpc>
              <a:spcBef>
                <a:spcPts val="100"/>
              </a:spcBef>
              <a:defRPr sz="1400" i="1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EC69C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Giunzione del cavo in fibra ottica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dalla strada all’abitazione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2EC4885F-86B2-CF19-DF31-C1704A8FA46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1578" y="2962286"/>
            <a:ext cx="2397938" cy="2237213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BFD8CF99-F375-C165-38B3-17F2503C7C7E}"/>
              </a:ext>
            </a:extLst>
          </p:cNvPr>
          <p:cNvSpPr txBox="1"/>
          <p:nvPr/>
        </p:nvSpPr>
        <p:spPr>
          <a:xfrm>
            <a:off x="9078922" y="5215187"/>
            <a:ext cx="2543249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sempio di scavo su proprietà pubblica e collegamento ad infrastruttura del privato</a:t>
            </a:r>
            <a:endParaRPr kumimoji="0" sz="14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7873BE0B-4C0D-14EE-C897-2437F5A2952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248" y="2944547"/>
            <a:ext cx="2363773" cy="2215442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2" name="object 3">
            <a:extLst>
              <a:ext uri="{FF2B5EF4-FFF2-40B4-BE49-F238E27FC236}">
                <a16:creationId xmlns:a16="http://schemas.microsoft.com/office/drawing/2014/main" id="{B2F322E1-7F05-72E1-3064-4890D1786903}"/>
              </a:ext>
            </a:extLst>
          </p:cNvPr>
          <p:cNvSpPr txBox="1"/>
          <p:nvPr/>
        </p:nvSpPr>
        <p:spPr>
          <a:xfrm>
            <a:off x="563254" y="5247447"/>
            <a:ext cx="2483096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sempio di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EC69C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riutilizzo di infrastrutture esistenti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428A4C08-8888-29FF-07B6-16F791923387}"/>
              </a:ext>
            </a:extLst>
          </p:cNvPr>
          <p:cNvSpPr txBox="1"/>
          <p:nvPr/>
        </p:nvSpPr>
        <p:spPr>
          <a:xfrm>
            <a:off x="558076" y="1088739"/>
            <a:ext cx="1107067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arà l’operatore selezionato a contattare Open Fiber, che fisserà un 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EC69C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ppuntamento con lo stesso utente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 la connessione richiesta è quella FTTH il tecnico Open Fiber cercherà la possibilità di utilizzare cavidotti già esistenti (es. rete elettrica) oppure sarà a cura del cittadino provvedere a predisporre una tubazione limitatamente alla sua proprietà privata.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EC69C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utti i lavori in proprietà pubblica sono a carico Open Fiber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 la connessione richiesta è quella FWA il tecnico Open Fiber cercherà la posizione migliore sulla casa del cittadino che ha fatto richiesta per installare un’</a:t>
            </a:r>
            <a:r>
              <a:rPr kumimoji="0" lang="it-I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ntennina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per ricevere il segnale wireless.</a:t>
            </a:r>
          </a:p>
        </p:txBody>
      </p:sp>
    </p:spTree>
    <p:extLst>
      <p:ext uri="{BB962C8B-B14F-4D97-AF65-F5344CB8AC3E}">
        <p14:creationId xmlns:p14="http://schemas.microsoft.com/office/powerpoint/2010/main" val="1396826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9vuEiDOYPp9S.H63.w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i Office">
  <a:themeElements>
    <a:clrScheme name="Rosso viola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E32D91"/>
      </a:accent1>
      <a:accent2>
        <a:srgbClr val="C830CC"/>
      </a:accent2>
      <a:accent3>
        <a:srgbClr val="4EA6DC"/>
      </a:accent3>
      <a:accent4>
        <a:srgbClr val="4775E7"/>
      </a:accent4>
      <a:accent5>
        <a:srgbClr val="8971E1"/>
      </a:accent5>
      <a:accent6>
        <a:srgbClr val="D54773"/>
      </a:accent6>
      <a:hlink>
        <a:srgbClr val="6B9F25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261</Words>
  <Application>Microsoft Office PowerPoint</Application>
  <PresentationFormat>Widescreen</PresentationFormat>
  <Paragraphs>23</Paragraphs>
  <Slides>5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0" baseType="lpstr">
      <vt:lpstr>Arial</vt:lpstr>
      <vt:lpstr>Calibri</vt:lpstr>
      <vt:lpstr>Nunito</vt:lpstr>
      <vt:lpstr>1_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atti Maria Rosa (Open Fiber)</dc:creator>
  <cp:lastModifiedBy>Gatti Maria Rosa (Open Fiber)</cp:lastModifiedBy>
  <cp:revision>1</cp:revision>
  <dcterms:created xsi:type="dcterms:W3CDTF">2024-03-21T13:58:59Z</dcterms:created>
  <dcterms:modified xsi:type="dcterms:W3CDTF">2024-03-21T14:00:22Z</dcterms:modified>
</cp:coreProperties>
</file>